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7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Weigel Stefan (PAR-EPS)" userId="fd3b2067-2981-4ad8-bf3a-d2e1004e4fa8" providerId="ADAL" clId="{55E1DA92-8B21-41F0-8C5C-F73F9F010CC6}"/>
    <pc:docChg chg="custSel modSld">
      <pc:chgData name="Weigel Stefan (PAR-EPS)" userId="fd3b2067-2981-4ad8-bf3a-d2e1004e4fa8" providerId="ADAL" clId="{55E1DA92-8B21-41F0-8C5C-F73F9F010CC6}" dt="2024-02-02T10:55:01.352" v="16" actId="20577"/>
      <pc:docMkLst>
        <pc:docMk/>
      </pc:docMkLst>
      <pc:sldChg chg="modSp mod">
        <pc:chgData name="Weigel Stefan (PAR-EPS)" userId="fd3b2067-2981-4ad8-bf3a-d2e1004e4fa8" providerId="ADAL" clId="{55E1DA92-8B21-41F0-8C5C-F73F9F010CC6}" dt="2024-02-02T10:55:01.352" v="16" actId="20577"/>
        <pc:sldMkLst>
          <pc:docMk/>
          <pc:sldMk cId="1913231849" sldId="417"/>
        </pc:sldMkLst>
        <pc:spChg chg="mod">
          <ac:chgData name="Weigel Stefan (PAR-EPS)" userId="fd3b2067-2981-4ad8-bf3a-d2e1004e4fa8" providerId="ADAL" clId="{55E1DA92-8B21-41F0-8C5C-F73F9F010CC6}" dt="2024-02-02T10:55:01.352" v="16" actId="20577"/>
          <ac:spMkLst>
            <pc:docMk/>
            <pc:sldMk cId="1913231849" sldId="417"/>
            <ac:spMk id="7" creationId="{997E4419-A7A8-4264-97B0-3A44B665821E}"/>
          </ac:spMkLst>
        </pc:spChg>
      </pc:sldChg>
    </pc:docChg>
  </pc:docChgLst>
  <pc:docChgLst>
    <pc:chgData name="Weigel Stefan (PAR-EPS)" userId="fd3b2067-2981-4ad8-bf3a-d2e1004e4fa8" providerId="ADAL" clId="{F1218C51-3F5D-4FEC-BDFB-965097C6913B}"/>
    <pc:docChg chg="modSld">
      <pc:chgData name="Weigel Stefan (PAR-EPS)" userId="fd3b2067-2981-4ad8-bf3a-d2e1004e4fa8" providerId="ADAL" clId="{F1218C51-3F5D-4FEC-BDFB-965097C6913B}" dt="2025-02-24T10:54:21.326" v="2" actId="27918"/>
      <pc:docMkLst>
        <pc:docMk/>
      </pc:docMkLst>
      <pc:sldChg chg="mod">
        <pc:chgData name="Weigel Stefan (PAR-EPS)" userId="fd3b2067-2981-4ad8-bf3a-d2e1004e4fa8" providerId="ADAL" clId="{F1218C51-3F5D-4FEC-BDFB-965097C6913B}" dt="2025-02-24T10:54:21.326" v="2" actId="27918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AA2BD2E-79AE-479A-B697-7A342CA65B65}"/>
    <pc:docChg chg="modSld">
      <pc:chgData name="Meyer Raphael (PAR-ES)" userId="79615dfe-ed48-4e74-a40f-4f7b034c1c27" providerId="ADAL" clId="{7AA2BD2E-79AE-479A-B697-7A342CA65B65}" dt="2023-02-24T13:59:56.964" v="4" actId="27918"/>
      <pc:docMkLst>
        <pc:docMk/>
      </pc:docMkLst>
      <pc:sldChg chg="mod">
        <pc:chgData name="Meyer Raphael (PAR-ES)" userId="79615dfe-ed48-4e74-a40f-4f7b034c1c27" providerId="ADAL" clId="{7AA2BD2E-79AE-479A-B697-7A342CA65B65}" dt="2023-02-24T13:59:56.964" v="4" actId="27918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EAC82E5C-70BF-4329-9A88-7DAF9489B81E}"/>
    <pc:docChg chg="modSld">
      <pc:chgData name="Weigel Stefan (PAR-EPS)" userId="fd3b2067-2981-4ad8-bf3a-d2e1004e4fa8" providerId="ADAL" clId="{EAC82E5C-70BF-4329-9A88-7DAF9489B81E}" dt="2024-04-26T06:32:18.364" v="22" actId="207"/>
      <pc:docMkLst>
        <pc:docMk/>
      </pc:docMkLst>
      <pc:sldChg chg="modSp mod">
        <pc:chgData name="Weigel Stefan (PAR-EPS)" userId="fd3b2067-2981-4ad8-bf3a-d2e1004e4fa8" providerId="ADAL" clId="{EAC82E5C-70BF-4329-9A88-7DAF9489B81E}" dt="2024-04-26T06:32:18.364" v="22" actId="207"/>
        <pc:sldMkLst>
          <pc:docMk/>
          <pc:sldMk cId="1913231849" sldId="417"/>
        </pc:sldMkLst>
        <pc:spChg chg="mod">
          <ac:chgData name="Weigel Stefan (PAR-EPS)" userId="fd3b2067-2981-4ad8-bf3a-d2e1004e4fa8" providerId="ADAL" clId="{EAC82E5C-70BF-4329-9A88-7DAF9489B81E}" dt="2024-04-26T06:31:31.729" v="14" actId="103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Weigel Stefan (PAR-EPS)" userId="fd3b2067-2981-4ad8-bf3a-d2e1004e4fa8" providerId="ADAL" clId="{EAC82E5C-70BF-4329-9A88-7DAF9489B81E}" dt="2024-04-26T06:32:18.364" v="22" actId="207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00DEDCB0-9BD0-493D-AC63-48ECCF4486C6}"/>
    <pc:docChg chg="delSld">
      <pc:chgData name="Meyer Raphael (PAR-ES)" userId="79615dfe-ed48-4e74-a40f-4f7b034c1c27" providerId="ADAL" clId="{00DEDCB0-9BD0-493D-AC63-48ECCF4486C6}" dt="2022-03-09T15:51:22.394" v="0" actId="47"/>
      <pc:docMkLst>
        <pc:docMk/>
      </pc:docMkLst>
      <pc:sldChg chg="del">
        <pc:chgData name="Meyer Raphael (PAR-ES)" userId="79615dfe-ed48-4e74-a40f-4f7b034c1c27" providerId="ADAL" clId="{00DEDCB0-9BD0-493D-AC63-48ECCF4486C6}" dt="2022-03-09T15:51:22.394" v="0" actId="47"/>
        <pc:sldMkLst>
          <pc:docMk/>
          <pc:sldMk cId="1774855510" sldId="414"/>
        </pc:sldMkLst>
      </pc:sldChg>
      <pc:sldChg chg="del">
        <pc:chgData name="Meyer Raphael (PAR-ES)" userId="79615dfe-ed48-4e74-a40f-4f7b034c1c27" providerId="ADAL" clId="{00DEDCB0-9BD0-493D-AC63-48ECCF4486C6}" dt="2022-03-09T15:51:22.394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00DEDCB0-9BD0-493D-AC63-48ECCF4486C6}" dt="2022-03-09T15:51:22.394" v="0" actId="47"/>
        <pc:sldMkLst>
          <pc:docMk/>
          <pc:sldMk cId="2251798312" sldId="416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PS)" userId="fd3b2067-2981-4ad8-bf3a-d2e1004e4fa8" providerId="ADAL" clId="{3861B66C-498B-4C58-9750-D307AA729168}"/>
    <pc:docChg chg="modSld">
      <pc:chgData name="Weigel Stefan (PAR-EPS)" userId="fd3b2067-2981-4ad8-bf3a-d2e1004e4fa8" providerId="ADAL" clId="{3861B66C-498B-4C58-9750-D307AA729168}" dt="2024-03-06T14:06:00.212" v="3" actId="27918"/>
      <pc:docMkLst>
        <pc:docMk/>
      </pc:docMkLst>
      <pc:sldChg chg="mod">
        <pc:chgData name="Weigel Stefan (PAR-EPS)" userId="fd3b2067-2981-4ad8-bf3a-d2e1004e4fa8" providerId="ADAL" clId="{3861B66C-498B-4C58-9750-D307AA729168}" dt="2024-03-06T14:06:00.212" v="3" actId="27918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Abbonamenti general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DDD0-44D6-BBBB-D6DA19CCC74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45277399999999995</c:v>
                </c:pt>
                <c:pt idx="1">
                  <c:v>0.46013499999999996</c:v>
                </c:pt>
                <c:pt idx="2">
                  <c:v>0.47218299999999996</c:v>
                </c:pt>
                <c:pt idx="3">
                  <c:v>0.48016999999999999</c:v>
                </c:pt>
                <c:pt idx="4">
                  <c:v>0.490205</c:v>
                </c:pt>
                <c:pt idx="5">
                  <c:v>0.49952999999999997</c:v>
                </c:pt>
                <c:pt idx="6">
                  <c:v>0.43870999999999999</c:v>
                </c:pt>
                <c:pt idx="7">
                  <c:v>0.40637099999999998</c:v>
                </c:pt>
                <c:pt idx="8">
                  <c:v>0.43076799999999998</c:v>
                </c:pt>
                <c:pt idx="9">
                  <c:v>0.44716599999999995</c:v>
                </c:pt>
                <c:pt idx="10">
                  <c:v>0.424864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Abbonamenti metà-prezzo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DDD0-44D6-BBBB-D6DA19CCC74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2.343696</c:v>
                </c:pt>
                <c:pt idx="1">
                  <c:v>2.3324039999999999</c:v>
                </c:pt>
                <c:pt idx="2">
                  <c:v>2.3949219999999998</c:v>
                </c:pt>
                <c:pt idx="3">
                  <c:v>2.5310319999999997</c:v>
                </c:pt>
                <c:pt idx="4">
                  <c:v>2.597655</c:v>
                </c:pt>
                <c:pt idx="5">
                  <c:v>2.7219449999999998</c:v>
                </c:pt>
                <c:pt idx="6">
                  <c:v>2.720812</c:v>
                </c:pt>
                <c:pt idx="7">
                  <c:v>2.828964</c:v>
                </c:pt>
                <c:pt idx="8">
                  <c:v>2.9686149999999998</c:v>
                </c:pt>
                <c:pt idx="9">
                  <c:v>3.1466789999999998</c:v>
                </c:pt>
                <c:pt idx="10">
                  <c:v>3.338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0773845918820655E-2"/>
          <c:y val="0.82582619369142318"/>
          <c:w val="0.44514394643034827"/>
          <c:h val="5.472318412195201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18088</cdr:x>
      <cdr:y>0.0658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27655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Mio</a:t>
          </a:r>
          <a:r>
            <a:rPr lang="de-CH" sz="1100" dirty="0">
              <a:solidFill>
                <a:schemeClr val="tx2"/>
              </a:solidFill>
              <a:cs typeface="Arial" pitchFamily="34" charset="0"/>
            </a:rPr>
            <a:t> di abbonamenti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9769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lientela fissa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97218053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bbonamenti generali e metà-prezzo del Servizio diretto svizzero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44832" y="5577691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1913231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microsoft.com/office/infopath/2007/PartnerControls"/>
    <ds:schemaRef ds:uri="http://schemas.microsoft.com/office/2006/documentManagement/types"/>
    <ds:schemaRef ds:uri="2f5c8543-cf23-4718-a3b8-32b0a91d511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2C70C6-4167-4EF6-9A90-B2853AA1BD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lientela fiss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ela fissa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